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6" r:id="rId4"/>
  </p:sldMasterIdLst>
  <p:notesMasterIdLst>
    <p:notesMasterId r:id="rId7"/>
  </p:notesMasterIdLst>
  <p:handoutMasterIdLst>
    <p:handoutMasterId r:id="rId8"/>
  </p:handoutMasterIdLst>
  <p:sldIdLst>
    <p:sldId id="257" r:id="rId5"/>
    <p:sldId id="258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6386F6-F883-7FF7-2C25-DDE3719EA1ED}" name="Florian Kampfer" initials="FK" userId="S::fkampfer@think-cell.com::1b1e8d7c-2258-4c4a-8504-7d182935f29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7777"/>
    <a:srgbClr val="000000"/>
    <a:srgbClr val="C52536"/>
    <a:srgbClr val="A5A5A5"/>
    <a:srgbClr val="444444"/>
    <a:srgbClr val="EAEAEA"/>
    <a:srgbClr val="C0C0C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1" autoAdjust="0"/>
    <p:restoredTop sz="94632" autoAdjust="0"/>
  </p:normalViewPr>
  <p:slideViewPr>
    <p:cSldViewPr snapToGrid="0">
      <p:cViewPr varScale="1">
        <p:scale>
          <a:sx n="76" d="100"/>
          <a:sy n="76" d="100"/>
        </p:scale>
        <p:origin x="56" y="7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664047151277013"/>
          <c:y val="5.9742647058823532E-2"/>
          <c:w val="0.79292730844793713"/>
          <c:h val="0.8805147058823529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F$1</c:f>
              <c:numCache>
                <c:formatCode>General</c:formatCode>
                <c:ptCount val="6"/>
                <c:pt idx="0">
                  <c:v>53</c:v>
                </c:pt>
                <c:pt idx="1">
                  <c:v>52</c:v>
                </c:pt>
                <c:pt idx="2">
                  <c:v>50</c:v>
                </c:pt>
                <c:pt idx="3">
                  <c:v>53</c:v>
                </c:pt>
                <c:pt idx="4">
                  <c:v>55.000000000000007</c:v>
                </c:pt>
                <c:pt idx="5">
                  <c:v>55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0D-4690-A619-BFB47065C6C2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F$2</c:f>
              <c:numCache>
                <c:formatCode>General</c:formatCode>
                <c:ptCount val="6"/>
                <c:pt idx="0">
                  <c:v>0.50000000000000044</c:v>
                </c:pt>
                <c:pt idx="1">
                  <c:v>1.0000000000000009</c:v>
                </c:pt>
                <c:pt idx="2">
                  <c:v>5.0000000000000044</c:v>
                </c:pt>
                <c:pt idx="3">
                  <c:v>2.0000000000000018</c:v>
                </c:pt>
                <c:pt idx="4">
                  <c:v>4.0000000000000036</c:v>
                </c:pt>
                <c:pt idx="5">
                  <c:v>4.5000000000000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0D-4690-A619-BFB47065C6C2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F$3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940D-4690-A619-BFB47065C6C2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F$4</c:f>
              <c:numCache>
                <c:formatCode>General</c:formatCode>
                <c:ptCount val="6"/>
                <c:pt idx="0">
                  <c:v>46.5</c:v>
                </c:pt>
                <c:pt idx="1">
                  <c:v>47</c:v>
                </c:pt>
                <c:pt idx="2">
                  <c:v>44.999999999999993</c:v>
                </c:pt>
                <c:pt idx="3">
                  <c:v>44.999999999999993</c:v>
                </c:pt>
                <c:pt idx="4">
                  <c:v>40.999999999999993</c:v>
                </c:pt>
                <c:pt idx="5">
                  <c:v>40.4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40D-4690-A619-BFB47065C6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93789744"/>
        <c:axId val="1"/>
      </c:areaChart>
      <c:catAx>
        <c:axId val="493789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789744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505183788878417E-2"/>
          <c:y val="2.5742574257425741E-2"/>
          <c:w val="0.95098963242224321"/>
          <c:h val="0.948514851485148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709</c:v>
                </c:pt>
                <c:pt idx="1">
                  <c:v>712</c:v>
                </c:pt>
                <c:pt idx="2">
                  <c:v>710</c:v>
                </c:pt>
                <c:pt idx="3">
                  <c:v>700</c:v>
                </c:pt>
                <c:pt idx="4">
                  <c:v>760</c:v>
                </c:pt>
                <c:pt idx="5">
                  <c:v>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E2-4E91-929F-0DDDB2B6573B}"/>
            </c:ext>
          </c:extLst>
        </c:ser>
        <c:ser>
          <c:idx val="1"/>
          <c:order val="1"/>
          <c:spPr>
            <a:solidFill>
              <a:srgbClr val="FF0000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E2-4E91-929F-0DDDB2B657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93766224"/>
        <c:axId val="1"/>
      </c:barChart>
      <c:catAx>
        <c:axId val="493766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6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937662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664047151277013"/>
          <c:y val="5.9742647058823532E-2"/>
          <c:w val="0.79292730844793713"/>
          <c:h val="0.8805147058823529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5</c:v>
                </c:pt>
                <c:pt idx="1">
                  <c:v>35</c:v>
                </c:pt>
                <c:pt idx="2">
                  <c:v>35</c:v>
                </c:pt>
                <c:pt idx="3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4A-4112-AF00-7F99D2F6C9A5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0</c:v>
                </c:pt>
                <c:pt idx="1">
                  <c:v>9.9999999999999982</c:v>
                </c:pt>
                <c:pt idx="2">
                  <c:v>8.9999999999999964</c:v>
                </c:pt>
                <c:pt idx="3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4A-4112-AF00-7F99D2F6C9A5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0.999999999999993</c:v>
                </c:pt>
                <c:pt idx="1">
                  <c:v>17.000000000000004</c:v>
                </c:pt>
                <c:pt idx="2">
                  <c:v>15.000000000000002</c:v>
                </c:pt>
                <c:pt idx="3">
                  <c:v>14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4A-4112-AF00-7F99D2F6C9A5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34.000000000000007</c:v>
                </c:pt>
                <c:pt idx="1">
                  <c:v>38</c:v>
                </c:pt>
                <c:pt idx="2">
                  <c:v>41</c:v>
                </c:pt>
                <c:pt idx="3">
                  <c:v>41.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A4A-4112-AF00-7F99D2F6C9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93787824"/>
        <c:axId val="1"/>
      </c:areaChart>
      <c:catAx>
        <c:axId val="4937878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787824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505183788878417E-2"/>
          <c:y val="2.5742574257425741E-2"/>
          <c:w val="0.95098963242224321"/>
          <c:h val="0.948514851485148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50</c:v>
                </c:pt>
                <c:pt idx="1">
                  <c:v>401</c:v>
                </c:pt>
                <c:pt idx="2">
                  <c:v>481</c:v>
                </c:pt>
                <c:pt idx="3">
                  <c:v>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A5-4377-A713-0350797FA488}"/>
            </c:ext>
          </c:extLst>
        </c:ser>
        <c:ser>
          <c:idx val="1"/>
          <c:order val="1"/>
          <c:spPr>
            <a:solidFill>
              <a:srgbClr val="FF0000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A5-4377-A713-0350797FA4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93784464"/>
        <c:axId val="1"/>
      </c:barChart>
      <c:catAx>
        <c:axId val="4937844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937844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F66BFA0-1F61-4EBB-B1B0-9EBAB581B69A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2510C2A9-B7BA-4B07-BD2D-35895E45D25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34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256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61959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2F25BEB-32C4-0492-2475-F1C4B17AEAE5}"/>
              </a:ext>
            </a:extLst>
          </p:cNvPr>
          <p:cNvGrpSpPr/>
          <p:nvPr userDrawn="1"/>
        </p:nvGrpSpPr>
        <p:grpSpPr>
          <a:xfrm>
            <a:off x="0" y="6530229"/>
            <a:ext cx="12191999" cy="327771"/>
            <a:chOff x="0" y="6530229"/>
            <a:chExt cx="12191999" cy="32777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C53A8D-FE22-665F-2404-A4CD8E92E2A3}"/>
                </a:ext>
              </a:extLst>
            </p:cNvPr>
            <p:cNvSpPr/>
            <p:nvPr userDrawn="1"/>
          </p:nvSpPr>
          <p:spPr>
            <a:xfrm>
              <a:off x="0" y="6530229"/>
              <a:ext cx="5119084" cy="327771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768E3BD-23D0-BFE8-A6E8-4B7A30A39183}"/>
                </a:ext>
              </a:extLst>
            </p:cNvPr>
            <p:cNvSpPr/>
            <p:nvPr userDrawn="1"/>
          </p:nvSpPr>
          <p:spPr>
            <a:xfrm flipH="1">
              <a:off x="2935679" y="6530400"/>
              <a:ext cx="9256320" cy="327600"/>
            </a:xfrm>
            <a:custGeom>
              <a:avLst/>
              <a:gdLst>
                <a:gd name="connsiteX0" fmla="*/ 8923493 w 9256320"/>
                <a:gd name="connsiteY0" fmla="*/ 0 h 327771"/>
                <a:gd name="connsiteX1" fmla="*/ 0 w 9256320"/>
                <a:gd name="connsiteY1" fmla="*/ 0 h 327771"/>
                <a:gd name="connsiteX2" fmla="*/ 0 w 9256320"/>
                <a:gd name="connsiteY2" fmla="*/ 327770 h 327771"/>
                <a:gd name="connsiteX3" fmla="*/ 6940998 w 9256320"/>
                <a:gd name="connsiteY3" fmla="*/ 327770 h 327771"/>
                <a:gd name="connsiteX4" fmla="*/ 6940998 w 9256320"/>
                <a:gd name="connsiteY4" fmla="*/ 327771 h 327771"/>
                <a:gd name="connsiteX5" fmla="*/ 7199969 w 9256320"/>
                <a:gd name="connsiteY5" fmla="*/ 327771 h 327771"/>
                <a:gd name="connsiteX6" fmla="*/ 7732463 w 9256320"/>
                <a:gd name="connsiteY6" fmla="*/ 327771 h 327771"/>
                <a:gd name="connsiteX7" fmla="*/ 9256320 w 9256320"/>
                <a:gd name="connsiteY7" fmla="*/ 327771 h 327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6320" h="327771">
                  <a:moveTo>
                    <a:pt x="8923493" y="0"/>
                  </a:moveTo>
                  <a:lnTo>
                    <a:pt x="0" y="0"/>
                  </a:lnTo>
                  <a:lnTo>
                    <a:pt x="0" y="327770"/>
                  </a:lnTo>
                  <a:lnTo>
                    <a:pt x="6940998" y="327770"/>
                  </a:lnTo>
                  <a:lnTo>
                    <a:pt x="6940998" y="327771"/>
                  </a:lnTo>
                  <a:lnTo>
                    <a:pt x="7199969" y="327771"/>
                  </a:lnTo>
                  <a:lnTo>
                    <a:pt x="7732463" y="327771"/>
                  </a:lnTo>
                  <a:lnTo>
                    <a:pt x="9256320" y="32777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3012017-F32E-F3DC-5C0D-99A4844BE5F1}"/>
              </a:ext>
            </a:extLst>
          </p:cNvPr>
          <p:cNvGrpSpPr/>
          <p:nvPr userDrawn="1"/>
        </p:nvGrpSpPr>
        <p:grpSpPr>
          <a:xfrm>
            <a:off x="10641600" y="258578"/>
            <a:ext cx="1177863" cy="429366"/>
            <a:chOff x="10641600" y="258578"/>
            <a:chExt cx="1177863" cy="42936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80BEADF-7CC4-9AAE-89D1-B18369F9BC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82550" y="352890"/>
              <a:ext cx="1036913" cy="240609"/>
            </a:xfrm>
            <a:prstGeom prst="rect">
              <a:avLst/>
            </a:prstGeom>
          </p:spPr>
        </p:pic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6371387-1DE5-15CB-052E-C6056403E1B2}"/>
                </a:ext>
              </a:extLst>
            </p:cNvPr>
            <p:cNvCxnSpPr/>
            <p:nvPr userDrawn="1"/>
          </p:nvCxnSpPr>
          <p:spPr>
            <a:xfrm>
              <a:off x="10641600" y="258578"/>
              <a:ext cx="0" cy="429366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03732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27025" indent="-14922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image" Target="../media/image3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chart" Target="../charts/chart2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chart" Target="../charts/chart1.xml"/><Relationship Id="rId8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tags" Target="../tags/tag60.xml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29" Type="http://schemas.openxmlformats.org/officeDocument/2006/relationships/oleObject" Target="../embeddings/oleObject4.bin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32" Type="http://schemas.openxmlformats.org/officeDocument/2006/relationships/chart" Target="../charts/chart4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slideLayout" Target="../slideLayouts/slideLayout1.xml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31" Type="http://schemas.openxmlformats.org/officeDocument/2006/relationships/chart" Target="../charts/chart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tags" Target="../tags/tag61.xml"/><Relationship Id="rId30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6418CCA-5FC7-BAA6-C9D7-185BE3E26C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5353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49" imgH="349" progId="TCLayout.ActiveDocument.1">
                  <p:embed/>
                </p:oleObj>
              </mc:Choice>
              <mc:Fallback>
                <p:oleObj name="think-cell Slide" r:id="rId33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7821452-EE0F-1C06-E94E-27DFF0448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BC1F7146-A81E-467A-8D41-4141DA72B93A}" type="thinkcell&lt;?xml version=&quot;1.0&quot; encoding=&quot;UTF-16&quot; standalone=&quot;yes&quot;?&gt;&lt;root reqver=&quot;28224&quot;&gt;&lt;version val=&quot;35702&quot;/&gt;&lt;PersistentType&gt;&lt;m_varval type=&quot;5&quot;&gt;Competition: Germany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SlideTitle&lt;/m_strName&gt;&lt;/PersistentType&gt;&lt;/root&gt;">
              <a:rPr lang="en-US" altLang="en-US" smtClean="0">
                <a:effectLst/>
                <a:latin typeface="+mn-lt"/>
              </a:rPr>
              <a:pPr/>
              <a:t>Competition: Germany</a:t>
            </a:fld>
            <a:endParaRPr lang="en-US" dirty="0">
              <a:latin typeface="+mn-lt"/>
            </a:endParaRP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BA650290-4E82-BCA3-D94B-5DD6F146ADE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7364905"/>
              </p:ext>
            </p:extLst>
          </p:nvPr>
        </p:nvGraphicFramePr>
        <p:xfrm>
          <a:off x="1174750" y="1804988"/>
          <a:ext cx="4040188" cy="345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7256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99D217A3-402A-4286-925C-BD573BE21916}" type="datetime'''''''''''''''''20''''''''2''''''''''''''''''''0'''''">
              <a:rPr lang="en-US" altLang="en-US" sz="1400" smtClean="0">
                <a:solidFill>
                  <a:schemeClr val="tx2"/>
                </a:solidFill>
              </a:rPr>
              <a:pPr/>
              <a:t>202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6696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21CA9634-BEBA-4DE5-B5C9-37BDA4E9E547}" type="datetime'''''''2''''''''''0''''''''''''''''2''''1'''''''''''''''''''">
              <a:rPr lang="en-US" altLang="en-US" sz="1400" smtClean="0">
                <a:solidFill>
                  <a:schemeClr val="tx2"/>
                </a:solidFill>
              </a:rPr>
              <a:pPr/>
              <a:t>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006725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383AA9E2-25C5-4773-BE6F-E83BB573B671}" type="datetime'''''''''''''''2''0''''''''''''''''''''''''''2''''''''''2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C28954-F2B2-F0EB-5C68-FE7E73280F8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648075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1026BF92-82CC-4771-8100-52F6055E28B6}" type="datetime'''''''''''''''20''2''''3''''''''''''''''''''''''''''''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65769F3-2ED2-E42D-3492-552D35D8A63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28783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BC759AF2-60BA-42B4-9AFC-CD051FB19403}" type="datetime'''''''''''''2''''''''''''''0''2''''''''''''''''''''''4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B3E483C-6B61-79AD-F78A-56C248EFF82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2918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12FFA9EB-40E7-404D-A71E-E682A1F85C10}" type="datetime'''''''''''''''''''2''''''''''''02''''5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06AFAE5-41EA-60FC-3EB6-5E68FDF4683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998663" y="55340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196F81-6805-37CC-997A-BFAAA4354BB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998663" y="5797550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5755858-73EB-6B49-C0E0-AEFC89BB2C0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789363" y="5534025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300288" y="5529263"/>
            <a:ext cx="1387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ABEDC6C-B068-45C6-A761-AC2EDCB77DF1}" type="datetime'''''''M''a''r''''''''''k''e''''''t ''hea''''''d''r''''oom'''''">
              <a:rPr lang="en-US" altLang="en-US" sz="1400" smtClean="0">
                <a:solidFill>
                  <a:schemeClr val="tx2"/>
                </a:solidFill>
              </a:rPr>
              <a:pPr/>
              <a:t>Market headroom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300288" y="5792788"/>
            <a:ext cx="1014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95418358-A0BA-4B07-B7F9-92D0B1B934E7}" type="datetime'''Co''mpe''''''''''''ti''''''''to''''r ''''1'''''">
              <a:rPr lang="en-US" altLang="en-US" sz="1400" smtClean="0">
                <a:solidFill>
                  <a:schemeClr val="tx2"/>
                </a:solidFill>
              </a:rPr>
              <a:pPr/>
              <a:t>Competitor 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264A6E2-FE2F-A146-BD96-3889FA6EEE9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90988" y="5529263"/>
            <a:ext cx="796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F80E8965-68E2-4A00-9F3B-6DE10E4A25B2}" type="datetime'O''''''ur'''''''' ''''bra''''''''''''n''''''''''''''''''d'''">
              <a:rPr lang="en-US" altLang="en-US" sz="1400" smtClean="0">
                <a:solidFill>
                  <a:schemeClr val="tx2"/>
                </a:solidFill>
              </a:rPr>
              <a:pPr/>
              <a:t>Our brand</a:t>
            </a:fld>
            <a:endParaRPr lang="en-US" sz="1400" dirty="0">
              <a:solidFill>
                <a:schemeClr val="tx2"/>
              </a:solidFill>
            </a:endParaRP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C9204F14-7B4B-AC5F-25A2-DE8F4C9BFA15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37467300"/>
              </p:ext>
            </p:extLst>
          </p:nvPr>
        </p:nvGraphicFramePr>
        <p:xfrm>
          <a:off x="6977063" y="1928813"/>
          <a:ext cx="3368675" cy="3206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121525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63845BD-69F6-4F0F-B342-6054D7908888}" type="datetime'''2''''''''''''''''0''''''''''''''''''''''2''''''''''''0'''''">
              <a:rPr lang="en-US" altLang="en-US" sz="1400" smtClean="0">
                <a:solidFill>
                  <a:schemeClr val="tx2"/>
                </a:solidFill>
              </a:rPr>
              <a:pPr/>
              <a:t>202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6565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70EA6A6-808F-4793-8069-B59A07E3FBAC}" type="datetime'''''''''''2''''''''''''02''''''''''''''''1'''''">
              <a:rPr lang="en-US" altLang="en-US" sz="1400" smtClean="0">
                <a:solidFill>
                  <a:schemeClr val="tx2"/>
                </a:solidFill>
              </a:rPr>
              <a:pPr/>
              <a:t>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1899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33B036C6-DC77-4C6E-8899-DC16E461C914}" type="datetime'''''''''''''''''''''''''''''''2''''0''2''''''''''''''2''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51688" y="19812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C70032AC-CD3D-41EE-B148-C095DEB50EE2}" type="datetime'''''''''7''''''''''''''''''''''''0''''''''''''''''''9'">
              <a:rPr lang="en-US" altLang="en-US" sz="1400" smtClean="0">
                <a:solidFill>
                  <a:schemeClr val="tx2"/>
                </a:solidFill>
              </a:rPr>
              <a:pPr/>
              <a:t>709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686675" y="19685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7B231774-6695-48F9-B7A0-EDD52CA3EA56}" type="datetime'''7''''1''''''''''''''''''''''''''''2'''''''">
              <a:rPr lang="en-US" altLang="en-US" sz="1400" smtClean="0">
                <a:solidFill>
                  <a:schemeClr val="tx2"/>
                </a:solidFill>
              </a:rPr>
              <a:pPr/>
              <a:t>71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220075" y="19764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E03F6E4-FC19-4D61-B573-708BEE03F8F5}" type="datetime'''''''''''''''''7''''''''''''''10'''''''''''''''">
              <a:rPr lang="en-US" altLang="en-US" sz="1400" smtClean="0">
                <a:solidFill>
                  <a:schemeClr val="tx2"/>
                </a:solidFill>
              </a:rPr>
              <a:pPr/>
              <a:t>71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48BEFBA-89B5-A489-DF7A-EFC2FDB61BA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7233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1FC9B3A2-8386-4D91-ADC1-8902BAECE9F1}" type="datetime'''''''''''''20''''''''''''''''''''2''''3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9554B43-BB2E-08E1-8A97-879C91DE8CB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2583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21033406-2326-4405-A4F7-BC4243C22778}" type="datetime'''''''2''''''''''''''''''''''''0''''''2''''4''''''''''''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782CCF-F27E-494F-CB25-F5F13D2FF0C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7917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5F00623E-A718-4A99-A8DA-3B0F0F85D78A}" type="datetime'''2''''''''''0''''''''''2''''''''''''5''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CDF320F-48E5-D809-2705-DDA6E7FD2D7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753475" y="201771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53BFFDDE-9834-48E2-8EE8-56555507D786}" type="datetime'''''''''''''''7''''0''0'''''''''''''''''''">
              <a:rPr lang="en-US" altLang="en-US" sz="1400" smtClean="0">
                <a:solidFill>
                  <a:schemeClr val="tx2"/>
                </a:solidFill>
              </a:rPr>
              <a:pPr/>
              <a:t>70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50D9D01-2FFD-8552-2FD4-3BF1BED78D4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288463" y="17780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75B7E8A5-716B-4F9E-918D-556511EC8196}" type="datetime'''''''''''''7''6''''''''''''''''0'''''''''''''''''''">
              <a:rPr lang="en-US" altLang="en-US" sz="1400" smtClean="0">
                <a:solidFill>
                  <a:schemeClr val="tx2"/>
                </a:solidFill>
              </a:rPr>
              <a:pPr/>
              <a:t>76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10A4897-5D11-D15F-B96C-4E822238E4B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821863" y="17732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59F63831-5F69-4650-9AC6-433D8A568317}" type="datetime'''''''''''''''''''''''''7''''''''''''''''61'''">
              <a:rPr lang="en-US" altLang="en-US" sz="1400" smtClean="0">
                <a:solidFill>
                  <a:schemeClr val="tx2"/>
                </a:solidFill>
              </a:rPr>
              <a:pPr/>
              <a:t>76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9089BB3-4BF5-870D-819F-35C54BBB48AD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131050" y="5534025"/>
            <a:ext cx="250825" cy="187325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432675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4FB25BA-C998-4F52-A484-6C51AB9F25B2}" type="datetime'''''''''P''en''di''''ng'''''''''''''''''''''''''">
              <a:rPr lang="en-US" altLang="en-US" sz="1400" smtClean="0">
                <a:solidFill>
                  <a:srgbClr val="000000"/>
                </a:solidFill>
              </a:rPr>
              <a:pPr/>
              <a:t>Pending</a:t>
            </a:fld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9288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1588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D7CC6D2F-F5FE-41F7-9567-E5012E7DB928}" type="thinkcell&lt;?xml version=&quot;1.0&quot; encoding=&quot;UTF-16&quot; standalone=&quot;yes&quot;?&gt;&lt;root reqver=&quot;28224&quot;&gt;&lt;version val=&quot;35702&quot;/&gt;&lt;PersistentType&gt;&lt;m_varval type=&quot;5&quot;&gt;Market share (2020–2025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Lef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Market share (2020–2025)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BCD959A9-1708-9CF4-114D-C95D3A9E750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0596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4BE4BE02-5249-40C8-ADE4-FF1458C856F8}" type="thinkcell&lt;?xml version=&quot;1.0&quot; encoding=&quot;UTF-16&quot; standalone=&quot;yes&quot;?&gt;&lt;root reqver=&quot;28224&quot;&gt;&lt;version val=&quot;35702&quot;/&gt;&lt;PersistentType&gt;&lt;m_varval type=&quot;5&quot;&gt;Our orders (10K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Righ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Our orders (10K)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520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6418CCA-5FC7-BAA6-C9D7-185BE3E26C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8581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49" imgH="349" progId="TCLayout.ActiveDocument.1">
                  <p:embed/>
                </p:oleObj>
              </mc:Choice>
              <mc:Fallback>
                <p:oleObj name="think-cell Slide" r:id="rId29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418CCA-5FC7-BAA6-C9D7-185BE3E26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7821452-EE0F-1C06-E94E-27DFF0448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B0484233-922D-4947-B8F3-386763D30FC9}" type="thinkcell&lt;?xml version=&quot;1.0&quot; encoding=&quot;UTF-16&quot; standalone=&quot;yes&quot;?&gt;&lt;root reqver=&quot;28224&quot;&gt;&lt;version val=&quot;35702&quot;/&gt;&lt;PersistentType&gt;&lt;m_varval type=&quot;5&quot;&gt;Competition: Canada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SlideTitle&lt;/m_strName&gt;&lt;/PersistentType&gt;&lt;/root&gt;">
              <a:rPr lang="en-US" altLang="en-US" smtClean="0">
                <a:effectLst/>
                <a:latin typeface="+mn-lt"/>
              </a:rPr>
              <a:pPr/>
              <a:t>Competition: Canada</a:t>
            </a:fld>
            <a:endParaRPr lang="en-US" dirty="0">
              <a:latin typeface="+mn-lt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1BDA9C21-EBA2-55CF-0D90-0CC595454BC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440761"/>
              </p:ext>
            </p:extLst>
          </p:nvPr>
        </p:nvGraphicFramePr>
        <p:xfrm>
          <a:off x="1174750" y="1804988"/>
          <a:ext cx="4040188" cy="345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7256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6A944DE-7F51-407F-BA89-F17BD5A79B02}" type="datetime'''''''''''''''''''''''''''''2''''''''''''''''02''2''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7940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03B9E00-FC56-4E5C-9904-CE8F6DCE5803}" type="datetime'''''''''''''''''''''''''''2''''''0''''2''3''''''''''''''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8608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9465A7C-D069-4FC8-B6F6-00DCCB2933E9}" type="datetime'2''''''''''''''''0''''''''''''2''''''''4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B842EC-8623-F632-AFCC-FD55A322667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2918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3113EB3-1B2E-4D21-9826-05D91E3CB839}" type="datetime'''''''''2''''''''02''''''5''''''''''''''''''''''''''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06AFAE5-41EA-60FC-3EB6-5E68FDF4683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998663" y="55340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977027D-0C0D-3C2A-60CE-1CAE6501C18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998663" y="579755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196F81-6805-37CC-997A-BFAAA4354BBF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89363" y="5534025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3DF37C9-B31A-7AC3-8986-29A1503BB38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789363" y="5797550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300288" y="5529263"/>
            <a:ext cx="1387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660B3C8F-2348-4BC5-BF7C-F4B914A53261}" type="datetime'''''M''''a''''rke''''''t h''''ea''d''''ro''o''''''m'''''''''''">
              <a:rPr lang="en-US" altLang="en-US" sz="1400" smtClean="0">
                <a:solidFill>
                  <a:schemeClr val="tx2"/>
                </a:solidFill>
              </a:rPr>
              <a:pPr/>
              <a:t>Market headroom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300288" y="5792788"/>
            <a:ext cx="1014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9025EB9F-A1BA-43C8-8018-EB51CFFEE161}" type="datetime'''''C''o''''m''p''e''''''''''''''''''t''''i''''t''o''r'''' 2'">
              <a:rPr lang="en-US" altLang="en-US" sz="1400" smtClean="0">
                <a:solidFill>
                  <a:schemeClr val="tx2"/>
                </a:solidFill>
              </a:rPr>
              <a:pPr/>
              <a:t>Competitor 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090988" y="5529263"/>
            <a:ext cx="1014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F3FC76D0-1672-4A7E-AFF8-54F15C2E23CD}" type="datetime'''C''omp''''''et''''''i''''t''''o''''''''''''''''r'''''' ''1'">
              <a:rPr lang="en-US" altLang="en-US" sz="1400" smtClean="0">
                <a:solidFill>
                  <a:schemeClr val="tx2"/>
                </a:solidFill>
              </a:rPr>
              <a:pPr/>
              <a:t>Competitor 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F4B909F-519C-9112-FB43-A81470AAB3A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90988" y="5792788"/>
            <a:ext cx="796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D32329BE-4AF9-49DA-8C00-EB2FDAB717DF}" type="datetime'O''''u''''''''''''''''r'''''''''''''''' ''bra''''''nd'">
              <a:rPr lang="en-US" altLang="en-US" sz="1400" smtClean="0">
                <a:solidFill>
                  <a:schemeClr val="tx2"/>
                </a:solidFill>
              </a:rPr>
              <a:pPr/>
              <a:t>Our brand</a:t>
            </a:fld>
            <a:endParaRPr lang="en-US" sz="1400" dirty="0">
              <a:solidFill>
                <a:schemeClr val="tx2"/>
              </a:solidFill>
            </a:endParaRP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0C8BC948-AC9E-4244-046F-95F7CA539E2A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58307695"/>
              </p:ext>
            </p:extLst>
          </p:nvPr>
        </p:nvGraphicFramePr>
        <p:xfrm>
          <a:off x="6977063" y="1928813"/>
          <a:ext cx="3368675" cy="3206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25646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14C3953-7EE9-42D7-8B16-048E0AA3DFF0}" type="datetime'''''2''''''0''''''''2''''''''''''''''2''''''''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05815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8EFF53F-771E-439A-A52F-C0D606E58A10}" type="datetime'''''''''''''''''''''''''''2''''0''''''''''''''''''''''2''3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85825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159AE26-FACE-4A94-853B-784C4286B43C}" type="datetime'''''''''''2''0''''''''2''''''''4''''''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286625" y="326548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CC498156-0F13-41D1-A395-345903783BE2}" type="datetime'''''''''''''''''2''''''5''''''''''''''''''''''''0'''''''''''">
              <a:rPr lang="en-US" altLang="en-US" sz="1400" smtClean="0">
                <a:solidFill>
                  <a:schemeClr val="tx2"/>
                </a:solidFill>
              </a:rPr>
              <a:pPr/>
              <a:t>25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088313" y="233045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FAC988F-B51B-4BBE-9F85-A4DE1D277B76}" type="datetime'''''''''4''0''''''''''''''''''''''1'''''''''''''''''">
              <a:rPr lang="en-US" altLang="en-US" sz="1400" smtClean="0">
                <a:solidFill>
                  <a:schemeClr val="tx2"/>
                </a:solidFill>
              </a:rPr>
              <a:pPr/>
              <a:t>40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888413" y="183515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AC9776D6-8FCE-43A6-A575-57A8DF4393D2}" type="datetime'''''''4''''''''''''''''''''''8''''''''1'''''">
              <a:rPr lang="en-US" altLang="en-US" sz="1400" smtClean="0">
                <a:solidFill>
                  <a:schemeClr val="tx2"/>
                </a:solidFill>
              </a:rPr>
              <a:pPr/>
              <a:t>48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DD028B8-318E-E67C-6DC2-BFA12B8D5BF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65993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3702355D-D6FB-4551-BFCC-4C1997AE7576}" type="datetime'2''''''''''''''''0''''2''''''''''''''''5''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41EB91C-7530-4AB7-3FDB-0B4937F8210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690100" y="17732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18AA0500-6F71-4A5B-A5A2-8DA973FCBF11}" type="datetime'''''''4''9''''''''''''''''1'''''''''''''">
              <a:rPr lang="en-US" altLang="en-US" sz="1400" smtClean="0">
                <a:solidFill>
                  <a:schemeClr val="tx2"/>
                </a:solidFill>
              </a:rPr>
              <a:pPr/>
              <a:t>49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9089BB3-4BF5-870D-819F-35C54BBB48A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131050" y="5534025"/>
            <a:ext cx="250825" cy="187325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432675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21C1DC2D-F4C5-45B4-88CE-37ACFD60B4D8}" type="datetime'P''''''''e''''''''''''''''''''n''''di''n''''''''''''''''''g'">
              <a:rPr lang="en-US" altLang="en-US" sz="1400" smtClean="0">
                <a:solidFill>
                  <a:srgbClr val="000000"/>
                </a:solidFill>
              </a:rPr>
              <a:pPr/>
              <a:t>Pending</a:t>
            </a:fld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9288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1588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1E156103-F9FF-4FF9-8420-12EBC101E96D}" type="thinkcell&lt;?xml version=&quot;1.0&quot; encoding=&quot;UTF-16&quot; standalone=&quot;yes&quot;?&gt;&lt;root reqver=&quot;28224&quot;&gt;&lt;version val=&quot;35702&quot;/&gt;&lt;PersistentType&gt;&lt;m_varval type=&quot;5&quot;&gt;Market share (2022–2025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Lef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Market share (2022–2025)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BCD959A9-1708-9CF4-114D-C95D3A9E75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0596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76C4D07D-19B3-4099-BDB7-3F6887F7C468}" type="thinkcell&lt;?xml version=&quot;1.0&quot; encoding=&quot;UTF-16&quot; standalone=&quot;yes&quot;?&gt;&lt;root reqver=&quot;28224&quot;&gt;&lt;version val=&quot;35702&quot;/&gt;&lt;PersistentType&gt;&lt;m_varval type=&quot;5&quot;&gt;Our orders (1K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Righ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Our orders (1K)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159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THINKCELLUNDODONOTDELETE" val="0"/>
  <p:tag name="THINKCELLPRESENTATIONDONOTDELETE" val="&lt;?xml version=&quot;1.0&quot; encoding=&quot;UTF-16&quot; standalone=&quot;yes&quot;?&gt;&lt;root reqver=&quot;28224&quot;&gt;&lt;version val=&quot;3560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21bzaHkC4ikTWdx6fx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MbgDsw2D.z5lUjCx7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FTCWRCuFPEXvkjbXWu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DTj0IWq6yUdqIaK8_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v04.nv_2BlmYvEPguE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_b73Ys6iA1bNd0Pp9W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9MtfMZfFR77YM_WlRc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jM_pZlj1j7uZzMKkC7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hcepSycc6zmS5L8SJ8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OIIN24FxJUJf5zhlU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upImP14Tq9rvg4ui4S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.BKVzkUcJA6TxuGK6Z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f1RXFODE1KmisFJWF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pmcw4I0EwPStmvc.IR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YjdqYCUXm7zKAh_hM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71hwv_6o5XQ7d2GcSp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LnUhpfAJr5dBwnlVWu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g8h9tsnlSY5qHe_OgM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xXOMhQpw4NW.Qr67tAM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C2d2sWN2p7c9b9RofV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utQdWFfUlWmccwR9Bs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RovSePTgH0HutpLx7m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knN0Av.laR5BuMbNm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2Eq8VHa7RZLyINbkqz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D8g1tluyZJ17cb071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49QEKNBaLF8_kijQjA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5mOPZjYEOZrD5JMLu5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q.gFwZ6cy0KdjFA_J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mfLdxlJE4hcWNQMYZ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xUY_R6S_c6YH.SBRsF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FTCWRCuFPEXvkjbXWuP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dxM5ukYVlrEsZqW0H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DTj0IWq6yUdqIaK8_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ICu.z9Gf.uDswQMUJ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_b73Ys6iA1bNd0Pp9W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g70hSFTFFAkUCUPqcy_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9MtfMZfFR77YM_WlRc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Sp8aE5srUsysTEX_7ld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hcepSycc6zmS5L8SJ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49QEKNBaLF8_kijQjA5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OIIN24FxJUJf5zhlUB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upImP14Tq9rvg4ui4S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.BKVzkUcJA6TxuGK6Z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f1RXFODE1KmisFJWFi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pmcw4I0EwPStmvc.IR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YjdqYCUXm7zKAh_hM6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Or8Si0.Da7kx_YqskNw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1m8pOOvJdMEieXjEP9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RovSePTgH0HutpLx7mj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knN0Av.laR5BuMbNm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5mOPZjYEOZrD5JMLu5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2Eq8VHa7RZLyINbkqz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D8g1tluyZJ17cb07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q.gFwZ6cy0KdjFA_J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mfLdxlJE4hcWNQMYZ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ekmnAUGKnJnUckJd9_iw"/>
</p:tagLst>
</file>

<file path=ppt/theme/theme1.xml><?xml version="1.0" encoding="utf-8"?>
<a:theme xmlns:a="http://schemas.openxmlformats.org/drawingml/2006/main" name="think-cell 2024">
  <a:themeElements>
    <a:clrScheme name="Custom 23">
      <a:dk1>
        <a:sysClr val="windowText" lastClr="000000"/>
      </a:dk1>
      <a:lt1>
        <a:sysClr val="window" lastClr="FFFFFF"/>
      </a:lt1>
      <a:dk2>
        <a:srgbClr val="444444"/>
      </a:dk2>
      <a:lt2>
        <a:srgbClr val="EAEAEA"/>
      </a:lt2>
      <a:accent1>
        <a:srgbClr val="6EA600"/>
      </a:accent1>
      <a:accent2>
        <a:srgbClr val="4C7300"/>
      </a:accent2>
      <a:accent3>
        <a:srgbClr val="0070B0"/>
      </a:accent3>
      <a:accent4>
        <a:srgbClr val="00507D"/>
      </a:accent4>
      <a:accent5>
        <a:srgbClr val="C0C0C0"/>
      </a:accent5>
      <a:accent6>
        <a:srgbClr val="777777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777777"/>
          </a:solidFill>
        </a:ln>
      </a:spPr>
      <a:bodyPr lIns="36000" tIns="36000" rIns="36000" bIns="36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77777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c template 2024.pptx" id="{41AF45B7-E58A-4964-942E-E1FD5E627DAB}" vid="{01A9D26A-1A55-414A-AB1C-A8B319AF91A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a128173-af0f-47db-b59a-3b587c519afd" xsi:nil="true"/>
    <lcf76f155ced4ddcb4097134ff3c332f xmlns="a200cd9b-af9f-4895-915b-682a20ddc275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59D86B7DE503449490ABD2357F36ED" ma:contentTypeVersion="11" ma:contentTypeDescription="Create a new document." ma:contentTypeScope="" ma:versionID="ff3686331224cfeb2f0490fcf60a21f8">
  <xsd:schema xmlns:xsd="http://www.w3.org/2001/XMLSchema" xmlns:xs="http://www.w3.org/2001/XMLSchema" xmlns:p="http://schemas.microsoft.com/office/2006/metadata/properties" xmlns:ns2="a200cd9b-af9f-4895-915b-682a20ddc275" xmlns:ns3="3a128173-af0f-47db-b59a-3b587c519afd" targetNamespace="http://schemas.microsoft.com/office/2006/metadata/properties" ma:root="true" ma:fieldsID="90e01fc446f41e860326a4dd628c68e6" ns2:_="" ns3:_="">
    <xsd:import namespace="a200cd9b-af9f-4895-915b-682a20ddc275"/>
    <xsd:import namespace="3a128173-af0f-47db-b59a-3b587c519a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00cd9b-af9f-4895-915b-682a20ddc2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128173-af0f-47db-b59a-3b587c519af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eb193d8-7aa1-4da9-83b8-5dd33688a9d3}" ma:internalName="TaxCatchAll" ma:showField="CatchAllData" ma:web="3a128173-af0f-47db-b59a-3b587c519a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239F5EF-3BC7-4D8D-A836-281F968EEBAE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elements/1.1/"/>
    <ds:schemaRef ds:uri="http://purl.org/dc/dcmitype/"/>
    <ds:schemaRef ds:uri="http://purl.org/dc/terms/"/>
    <ds:schemaRef ds:uri="http://schemas.openxmlformats.org/package/2006/metadata/core-properties"/>
    <ds:schemaRef ds:uri="864686ff-c528-4121-8c14-dfe2dfe54fd3"/>
    <ds:schemaRef ds:uri="6dd700bd-da09-4649-9444-0dda6d878ea0"/>
    <ds:schemaRef ds:uri="3a128173-af0f-47db-b59a-3b587c519afd"/>
    <ds:schemaRef ds:uri="a200cd9b-af9f-4895-915b-682a20ddc275"/>
  </ds:schemaRefs>
</ds:datastoreItem>
</file>

<file path=customXml/itemProps2.xml><?xml version="1.0" encoding="utf-8"?>
<ds:datastoreItem xmlns:ds="http://schemas.openxmlformats.org/officeDocument/2006/customXml" ds:itemID="{57D8999C-1797-48CC-9209-81F5AFDDAC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00cd9b-af9f-4895-915b-682a20ddc275"/>
    <ds:schemaRef ds:uri="3a128173-af0f-47db-b59a-3b587c519a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700B150-5000-4C50-84F4-C0ADDCA858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ink-cell corporate template</Template>
  <TotalTime>47</TotalTime>
  <Words>45</Words>
  <Application>Microsoft Office PowerPoint</Application>
  <PresentationFormat>Widescreen</PresentationFormat>
  <Paragraphs>4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Symbol</vt:lpstr>
      <vt:lpstr>think-cell 2024</vt:lpstr>
      <vt:lpstr>think-cell Slide</vt:lpstr>
      <vt:lpstr>Competition: Germany</vt:lpstr>
      <vt:lpstr>Competition: Cana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onwyn Frey</dc:creator>
  <cp:lastModifiedBy>Doan, Danny B</cp:lastModifiedBy>
  <cp:revision>10</cp:revision>
  <dcterms:created xsi:type="dcterms:W3CDTF">2024-11-22T16:33:01Z</dcterms:created>
  <dcterms:modified xsi:type="dcterms:W3CDTF">2025-05-02T04:3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59D86B7DE503449490ABD2357F36ED</vt:lpwstr>
  </property>
  <property fmtid="{D5CDD505-2E9C-101B-9397-08002B2CF9AE}" pid="3" name="MediaServiceImageTags">
    <vt:lpwstr/>
  </property>
</Properties>
</file>